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84" r:id="rId1"/>
  </p:sldMasterIdLst>
  <p:notesMasterIdLst>
    <p:notesMasterId r:id="rId21"/>
  </p:notesMasterIdLst>
  <p:sldIdLst>
    <p:sldId id="256" r:id="rId2"/>
    <p:sldId id="578" r:id="rId3"/>
    <p:sldId id="579" r:id="rId4"/>
    <p:sldId id="580" r:id="rId5"/>
    <p:sldId id="581" r:id="rId6"/>
    <p:sldId id="551" r:id="rId7"/>
    <p:sldId id="530" r:id="rId8"/>
    <p:sldId id="429" r:id="rId9"/>
    <p:sldId id="589" r:id="rId10"/>
    <p:sldId id="291" r:id="rId11"/>
    <p:sldId id="488" r:id="rId12"/>
    <p:sldId id="567" r:id="rId13"/>
    <p:sldId id="587" r:id="rId14"/>
    <p:sldId id="592" r:id="rId15"/>
    <p:sldId id="590" r:id="rId16"/>
    <p:sldId id="591" r:id="rId17"/>
    <p:sldId id="584" r:id="rId18"/>
    <p:sldId id="585" r:id="rId19"/>
    <p:sldId id="586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9900CC"/>
    <a:srgbClr val="FFFFFF"/>
    <a:srgbClr val="CCFFFF"/>
    <a:srgbClr val="EAEAEA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1" d="100"/>
          <a:sy n="71" d="100"/>
        </p:scale>
        <p:origin x="618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5AC495-3789-4285-8E7F-CF77D4EB8EE1}" type="datetimeFigureOut">
              <a:rPr lang="en-US" smtClean="0"/>
              <a:t>27-Oct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5A77730-1750-4011-9122-11F51723FD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4333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93700" y="692150"/>
            <a:ext cx="6070600" cy="3416300"/>
          </a:xfrm>
          <a:ln/>
        </p:spPr>
      </p:sp>
      <p:sp>
        <p:nvSpPr>
          <p:cNvPr id="1955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 u="sng"/>
              <a:t>Environmental Regulations: Changes over time</a:t>
            </a:r>
            <a:r>
              <a:rPr lang="en-US" altLang="en-US"/>
              <a:t>.  These figures present an explosion of environmental laws and regulations over time.	</a:t>
            </a:r>
          </a:p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450541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hr-HR" dirty="0"/>
              <a:t>Unapređenja koja proizlaze iz ovog Zakona grupirali smo u šest ključnih kategorij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hr-HR" dirty="0"/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Tx/>
              <a:buAutoNum type="arabicPlain"/>
              <a:defRPr/>
            </a:pPr>
            <a:endParaRPr lang="en-US" dirty="0"/>
          </a:p>
        </p:txBody>
      </p:sp>
      <p:sp>
        <p:nvSpPr>
          <p:cNvPr id="5222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7A29A893-EE15-4B64-8AF3-5DE718F53EDF}" type="slidenum">
              <a:rPr lang="hr-HR" altLang="en-US" smtClean="0">
                <a:latin typeface="Arial" panose="020B0604020202020204" pitchFamily="34" charset="0"/>
              </a:rPr>
              <a:pPr/>
              <a:t>11</a:t>
            </a:fld>
            <a:endParaRPr lang="hr-HR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6823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4684F1FC-0DF9-43DE-A907-AA2F8BC626B0}" type="datetimeFigureOut">
              <a:rPr lang="en-US" smtClean="0"/>
              <a:t>27-Oct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739D0-AAA0-44AE-A7FA-48CB070BD415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83627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4F1FC-0DF9-43DE-A907-AA2F8BC626B0}" type="datetimeFigureOut">
              <a:rPr lang="en-US" smtClean="0"/>
              <a:t>27-Oct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739D0-AAA0-44AE-A7FA-48CB070BD4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3662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4F1FC-0DF9-43DE-A907-AA2F8BC626B0}" type="datetimeFigureOut">
              <a:rPr lang="en-US" smtClean="0"/>
              <a:t>27-Oct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739D0-AAA0-44AE-A7FA-48CB070BD415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17918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/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"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 txBox="1"/>
          <p:nvPr/>
        </p:nvSpPr>
        <p:spPr>
          <a:xfrm>
            <a:off x="11472334" y="6448426"/>
            <a:ext cx="626533" cy="365125"/>
          </a:xfrm>
          <a:prstGeom prst="rect">
            <a:avLst/>
          </a:prstGeom>
          <a:noFill/>
          <a:ln>
            <a:noFill/>
          </a:ln>
        </p:spPr>
        <p:txBody>
          <a:bodyPr lIns="55721" tIns="27861" rIns="55721" bIns="27861" anchor="ctr" anchorCtr="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defRPr/>
            </a:pPr>
            <a:fld id="{AC8A1C5F-4599-4346-BBA5-A625A15348D4}" type="slidenum">
              <a:rPr lang="sr-Latn-RS" altLang="en-US" sz="675" b="1" smtClean="0">
                <a:solidFill>
                  <a:srgbClr val="1F497D"/>
                </a:solidFill>
                <a:latin typeface="Arial" panose="020B0604020202020204" pitchFamily="34" charset="0"/>
              </a:rPr>
              <a:pPr algn="ctr">
                <a:defRPr/>
              </a:pPr>
              <a:t>‹#›</a:t>
            </a:fld>
            <a:endParaRPr lang="en-US" altLang="en-US" sz="675" b="1">
              <a:solidFill>
                <a:srgbClr val="1F497D"/>
              </a:solidFill>
              <a:latin typeface="Arial" panose="020B0604020202020204" pitchFamily="34" charset="0"/>
            </a:endParaRPr>
          </a:p>
        </p:txBody>
      </p:sp>
      <p:sp>
        <p:nvSpPr>
          <p:cNvPr id="6" name="Title 1"/>
          <p:cNvSpPr txBox="1">
            <a:spLocks noGrp="1"/>
          </p:cNvSpPr>
          <p:nvPr>
            <p:ph type="title"/>
          </p:nvPr>
        </p:nvSpPr>
        <p:spPr>
          <a:xfrm>
            <a:off x="609604" y="44624"/>
            <a:ext cx="10219865" cy="79208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5727528"/>
      </p:ext>
    </p:extLst>
  </p:cSld>
  <p:clrMapOvr>
    <a:masterClrMapping/>
  </p:clrMapOvr>
  <p:transition spd="slow"/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4F1FC-0DF9-43DE-A907-AA2F8BC626B0}" type="datetimeFigureOut">
              <a:rPr lang="en-US" smtClean="0"/>
              <a:t>27-Oct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739D0-AAA0-44AE-A7FA-48CB070BD4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54375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4F1FC-0DF9-43DE-A907-AA2F8BC626B0}" type="datetimeFigureOut">
              <a:rPr lang="en-US" smtClean="0"/>
              <a:t>27-Oct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739D0-AAA0-44AE-A7FA-48CB070BD415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74075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4F1FC-0DF9-43DE-A907-AA2F8BC626B0}" type="datetimeFigureOut">
              <a:rPr lang="en-US" smtClean="0"/>
              <a:t>27-Oct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739D0-AAA0-44AE-A7FA-48CB070BD4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7925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4F1FC-0DF9-43DE-A907-AA2F8BC626B0}" type="datetimeFigureOut">
              <a:rPr lang="en-US" smtClean="0"/>
              <a:t>27-Oct-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739D0-AAA0-44AE-A7FA-48CB070BD4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12693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4F1FC-0DF9-43DE-A907-AA2F8BC626B0}" type="datetimeFigureOut">
              <a:rPr lang="en-US" smtClean="0"/>
              <a:t>27-Oct-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739D0-AAA0-44AE-A7FA-48CB070BD4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4768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4F1FC-0DF9-43DE-A907-AA2F8BC626B0}" type="datetimeFigureOut">
              <a:rPr lang="en-US" smtClean="0"/>
              <a:t>27-Oct-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739D0-AAA0-44AE-A7FA-48CB070BD4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4119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4F1FC-0DF9-43DE-A907-AA2F8BC626B0}" type="datetimeFigureOut">
              <a:rPr lang="en-US" smtClean="0"/>
              <a:t>27-Oct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739D0-AAA0-44AE-A7FA-48CB070BD4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6867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4F1FC-0DF9-43DE-A907-AA2F8BC626B0}" type="datetimeFigureOut">
              <a:rPr lang="en-US" smtClean="0"/>
              <a:t>27-Oct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739D0-AAA0-44AE-A7FA-48CB070BD415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08149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4684F1FC-0DF9-43DE-A907-AA2F8BC626B0}" type="datetimeFigureOut">
              <a:rPr lang="en-US" smtClean="0"/>
              <a:t>27-Oct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CC5739D0-AAA0-44AE-A7FA-48CB070BD415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718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hyperlink" Target="mailto:ajovovic@mas.bg.ac.rs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91670" y="5067714"/>
            <a:ext cx="7772400" cy="1463040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</a:pPr>
            <a:r>
              <a:rPr lang="sr-Latn-RS" sz="2400" b="1" dirty="0"/>
              <a:t>Investicije i zaštita životne sredine – prioritet </a:t>
            </a:r>
            <a:r>
              <a:rPr lang="sr-Latn-RS" sz="2400" b="1" dirty="0" smtClean="0"/>
              <a:t>EPS</a:t>
            </a:r>
            <a:endParaRPr lang="en-US" sz="2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leksandar Jovovic</a:t>
            </a:r>
          </a:p>
          <a:p>
            <a:r>
              <a:rPr lang="en-US" dirty="0"/>
              <a:t>University of Belgrade</a:t>
            </a:r>
          </a:p>
          <a:p>
            <a:r>
              <a:rPr lang="en-US" dirty="0"/>
              <a:t>Faculty of Mechanical Eng.</a:t>
            </a:r>
          </a:p>
          <a:p>
            <a:r>
              <a:rPr lang="en-US" dirty="0">
                <a:hlinkClick r:id="rId2"/>
              </a:rPr>
              <a:t>ajovovic@mas.bg.ac.rs</a:t>
            </a:r>
            <a:endParaRPr lang="en-US" dirty="0"/>
          </a:p>
        </p:txBody>
      </p:sp>
      <p:pic>
        <p:nvPicPr>
          <p:cNvPr id="5" name="Picture 4" descr="1Memo novi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1675" y="0"/>
            <a:ext cx="5192395" cy="90741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068168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825126" y="811214"/>
            <a:ext cx="10120779" cy="1152525"/>
          </a:xfrm>
        </p:spPr>
        <p:txBody>
          <a:bodyPr>
            <a:noAutofit/>
          </a:bodyPr>
          <a:lstStyle/>
          <a:p>
            <a:r>
              <a:rPr lang="en-GB" altLang="en-US" sz="44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ED</a:t>
            </a:r>
            <a:r>
              <a:rPr lang="sr-Latn-RS" altLang="en-US" sz="44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2010/75</a:t>
            </a:r>
            <a:endParaRPr lang="en-GB" altLang="en-US" sz="44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219" name="Content Placeholder 2"/>
          <p:cNvSpPr>
            <a:spLocks noGrp="1"/>
          </p:cNvSpPr>
          <p:nvPr>
            <p:ph idx="1"/>
          </p:nvPr>
        </p:nvSpPr>
        <p:spPr>
          <a:xfrm>
            <a:off x="825126" y="2532530"/>
            <a:ext cx="10658662" cy="3816350"/>
          </a:xfrm>
        </p:spPr>
        <p:txBody>
          <a:bodyPr>
            <a:noAutofit/>
          </a:bodyPr>
          <a:lstStyle/>
          <a:p>
            <a:pPr marL="742950" lvl="1" indent="-342900">
              <a:spcBef>
                <a:spcPct val="30000"/>
              </a:spcBef>
              <a:spcAft>
                <a:spcPct val="30000"/>
              </a:spcAft>
              <a:buClrTx/>
            </a:pPr>
            <a:r>
              <a:rPr lang="sr-Latn-RS" altLang="en-US" sz="24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jvažniji eu instrument za regulisanje emisija </a:t>
            </a:r>
            <a:r>
              <a:rPr lang="sr-Latn-RS" altLang="en-US" sz="24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z </a:t>
            </a:r>
            <a:r>
              <a:rPr lang="en-GB" altLang="en-US" sz="24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gro </a:t>
            </a:r>
            <a:r>
              <a:rPr lang="en-GB" altLang="en-US" sz="24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ENERG</a:t>
            </a:r>
            <a:r>
              <a:rPr lang="sr-Latn-RS" altLang="en-US" sz="24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skog – </a:t>
            </a:r>
            <a:r>
              <a:rPr lang="sr-Latn-RS" altLang="en-US" sz="24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ustrijskog s</a:t>
            </a:r>
            <a:r>
              <a:rPr lang="sr-Latn-RS" altLang="en-US" sz="24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ktora/postrojenja</a:t>
            </a:r>
            <a:endParaRPr lang="sr-Latn-RS" altLang="en-US" sz="2400" b="1" u="sng" dirty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342900">
              <a:spcBef>
                <a:spcPct val="30000"/>
              </a:spcBef>
              <a:spcAft>
                <a:spcPct val="30000"/>
              </a:spcAft>
              <a:buClrTx/>
            </a:pPr>
            <a:r>
              <a:rPr lang="sr-Latn-RS" altLang="en-US" sz="2400" b="1" u="sng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le IED nema vise novih GVE – samo novcane nadoknade, kao kod GHG</a:t>
            </a:r>
          </a:p>
          <a:p>
            <a:pPr marL="742950" lvl="1" indent="-342900">
              <a:spcBef>
                <a:spcPct val="30000"/>
              </a:spcBef>
              <a:spcAft>
                <a:spcPct val="30000"/>
              </a:spcAft>
              <a:buClrTx/>
            </a:pPr>
            <a:r>
              <a:rPr lang="sr-Latn-RS" altLang="en-US" sz="2400" b="1" u="sng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roz EnZ nam dolazi i IED i NEC brže nego što smo mislili</a:t>
            </a:r>
          </a:p>
          <a:p>
            <a:pPr marL="742950" lvl="1" indent="-342900">
              <a:spcBef>
                <a:spcPct val="30000"/>
              </a:spcBef>
              <a:spcAft>
                <a:spcPct val="30000"/>
              </a:spcAft>
              <a:buClrTx/>
            </a:pPr>
            <a:r>
              <a:rPr lang="sr-Latn-RS" altLang="en-US" sz="2400" b="1" u="sng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 sve je uključena i klima i OIE i EE</a:t>
            </a:r>
            <a:endParaRPr lang="en-GB" altLang="en-US" sz="2400" b="1" u="sng" dirty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1800"/>
              </a:spcAft>
              <a:buClrTx/>
            </a:pPr>
            <a:endParaRPr lang="en-GB" altLang="en-US" sz="2400" dirty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en-GB" altLang="en-US" sz="2400" dirty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7847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95894" y="726141"/>
            <a:ext cx="10594264" cy="933799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hr-HR" sz="4000" dirty="0">
                <a:solidFill>
                  <a:schemeClr val="tx1"/>
                </a:solidFill>
              </a:rPr>
              <a:t/>
            </a:r>
            <a:br>
              <a:rPr lang="hr-HR" sz="4000" dirty="0">
                <a:solidFill>
                  <a:schemeClr val="tx1"/>
                </a:solidFill>
              </a:rPr>
            </a:br>
            <a:r>
              <a:rPr lang="en-US" sz="4000" dirty="0" err="1" smtClean="0">
                <a:solidFill>
                  <a:schemeClr val="tx1"/>
                </a:solidFill>
              </a:rPr>
              <a:t>klima</a:t>
            </a:r>
            <a:r>
              <a:rPr lang="en-US" sz="4000" dirty="0" smtClean="0">
                <a:solidFill>
                  <a:schemeClr val="tx1"/>
                </a:solidFill>
              </a:rPr>
              <a:t> –</a:t>
            </a:r>
            <a:br>
              <a:rPr lang="en-US" sz="4000" dirty="0" smtClean="0">
                <a:solidFill>
                  <a:schemeClr val="tx1"/>
                </a:solidFill>
              </a:rPr>
            </a:br>
            <a:r>
              <a:rPr lang="hr-HR" sz="4000" dirty="0" smtClean="0">
                <a:solidFill>
                  <a:schemeClr val="tx1"/>
                </a:solidFill>
              </a:rPr>
              <a:t>Politika </a:t>
            </a:r>
            <a:r>
              <a:rPr lang="hr-HR" sz="4000" dirty="0">
                <a:solidFill>
                  <a:schemeClr val="tx1"/>
                </a:solidFill>
              </a:rPr>
              <a:t>i mere – vremenski </a:t>
            </a:r>
            <a:r>
              <a:rPr lang="hr-HR" sz="4000" dirty="0" smtClean="0">
                <a:solidFill>
                  <a:schemeClr val="tx1"/>
                </a:solidFill>
              </a:rPr>
              <a:t>okvir</a:t>
            </a:r>
            <a:r>
              <a:rPr lang="en-US" sz="4000" dirty="0" smtClean="0">
                <a:solidFill>
                  <a:schemeClr val="tx1"/>
                </a:solidFill>
              </a:rPr>
              <a:t> - </a:t>
            </a:r>
            <a:r>
              <a:rPr lang="en-GB" sz="4000" dirty="0">
                <a:solidFill>
                  <a:schemeClr val="tx1"/>
                </a:solidFill>
              </a:rPr>
              <a:t/>
            </a:r>
            <a:br>
              <a:rPr lang="en-GB" sz="4000" dirty="0">
                <a:solidFill>
                  <a:schemeClr val="tx1"/>
                </a:solidFill>
              </a:rPr>
            </a:br>
            <a:endParaRPr lang="hr-HR" sz="4000" dirty="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894" y="1847052"/>
            <a:ext cx="9267431" cy="4671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1041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5868" y="612110"/>
            <a:ext cx="10110037" cy="1499616"/>
          </a:xfrm>
        </p:spPr>
        <p:txBody>
          <a:bodyPr>
            <a:noAutofit/>
          </a:bodyPr>
          <a:lstStyle/>
          <a:p>
            <a:r>
              <a:rPr lang="sr-Latn-RS" sz="3200" dirty="0">
                <a:solidFill>
                  <a:srgbClr val="FF0000"/>
                </a:solidFill>
              </a:rPr>
              <a:t>Udeo pojedinih sektora u ukupnim emisijama oksida sumpora, azotnih oksida, PM10 i </a:t>
            </a:r>
            <a:r>
              <a:rPr lang="sr-Latn-RS" sz="3200" dirty="0" smtClean="0">
                <a:solidFill>
                  <a:srgbClr val="FF0000"/>
                </a:solidFill>
              </a:rPr>
              <a:t>PM2.5 u </a:t>
            </a:r>
            <a:r>
              <a:rPr lang="sr-Latn-RS" sz="3200" dirty="0" smtClean="0">
                <a:solidFill>
                  <a:srgbClr val="0000FF"/>
                </a:solidFill>
              </a:rPr>
              <a:t>rs</a:t>
            </a:r>
            <a:endParaRPr lang="en-US" sz="3200" dirty="0">
              <a:solidFill>
                <a:srgbClr val="0000F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177" y="2491689"/>
            <a:ext cx="6816920" cy="369395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794376" y="1708314"/>
            <a:ext cx="286422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/>
              <a:t>EEA 33 radi poredjenj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dirty="0"/>
              <a:t>Sox – energy prod i dist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dirty="0"/>
              <a:t>Nox – drumski saobraćaj i ener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dirty="0"/>
              <a:t>PM10 – komerc i domać i indust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r-Latn-RS" dirty="0"/>
              <a:t>PM2.5 – komerc</a:t>
            </a:r>
            <a:endParaRPr lang="en-GB" dirty="0"/>
          </a:p>
        </p:txBody>
      </p:sp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7246" y="4016638"/>
            <a:ext cx="4338918" cy="276755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669115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sz="4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isije PM </a:t>
            </a:r>
            <a:r>
              <a:rPr lang="sr-Latn-RS" sz="400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izvori u </a:t>
            </a:r>
            <a:r>
              <a:rPr lang="sr-Latn-RS" sz="4000" dirty="0" smtClean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s</a:t>
            </a:r>
            <a:endParaRPr lang="en-GB" sz="4000" dirty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50" y="2255152"/>
            <a:ext cx="6070329" cy="380282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7377" y="2084832"/>
            <a:ext cx="6309857" cy="4143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050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 smtClean="0"/>
              <a:t>Održiva energija</a:t>
            </a:r>
            <a:endParaRPr lang="en-GB" dirty="0"/>
          </a:p>
        </p:txBody>
      </p:sp>
      <p:pic>
        <p:nvPicPr>
          <p:cNvPr id="4" name="Picture 1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3421" y="1516431"/>
            <a:ext cx="8208962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>
            <a:spLocks noChangeArrowheads="1"/>
          </p:cNvSpPr>
          <p:nvPr/>
        </p:nvSpPr>
        <p:spPr bwMode="auto">
          <a:xfrm>
            <a:off x="2404223" y="6488668"/>
            <a:ext cx="739978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FF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en-US" dirty="0"/>
              <a:t>Source: IEA (2007), IPCC (2007), UNPD (2004) and WBGU (2003)</a:t>
            </a:r>
            <a:r>
              <a:rPr lang="de-DE" alt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140426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370063"/>
            <a:ext cx="9720072" cy="1499616"/>
          </a:xfrm>
        </p:spPr>
        <p:txBody>
          <a:bodyPr>
            <a:normAutofit/>
          </a:bodyPr>
          <a:lstStyle/>
          <a:p>
            <a:r>
              <a:rPr lang="en-US" sz="3600" dirty="0" err="1"/>
              <a:t>Kvalitet</a:t>
            </a:r>
            <a:r>
              <a:rPr lang="en-US" sz="3600" dirty="0"/>
              <a:t> </a:t>
            </a:r>
            <a:r>
              <a:rPr lang="en-US" sz="3600" dirty="0" err="1"/>
              <a:t>i</a:t>
            </a:r>
            <a:r>
              <a:rPr lang="en-US" sz="3600" dirty="0"/>
              <a:t> problem </a:t>
            </a:r>
            <a:r>
              <a:rPr lang="en-US" sz="3600" dirty="0" err="1"/>
              <a:t>biomase</a:t>
            </a:r>
            <a:r>
              <a:rPr lang="en-US" sz="3600" dirty="0"/>
              <a:t> </a:t>
            </a:r>
            <a:r>
              <a:rPr lang="en-US" sz="3600" dirty="0" err="1"/>
              <a:t>kao</a:t>
            </a:r>
            <a:r>
              <a:rPr lang="en-US" sz="3600" dirty="0"/>
              <a:t> </a:t>
            </a:r>
            <a:r>
              <a:rPr lang="en-US" sz="3600" dirty="0" err="1"/>
              <a:t>goriva</a:t>
            </a:r>
            <a:endParaRPr lang="en-GB" sz="3600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521"/>
          <a:stretch/>
        </p:blipFill>
        <p:spPr>
          <a:xfrm>
            <a:off x="3440786" y="1331258"/>
            <a:ext cx="8751214" cy="539227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9775676" y="5204011"/>
            <a:ext cx="21473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b="1" dirty="0" smtClean="0">
                <a:solidFill>
                  <a:srgbClr val="FF0000"/>
                </a:solidFill>
              </a:rPr>
              <a:t>PM 2,5 i PM 5/10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00382" y="1833857"/>
            <a:ext cx="3240404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r-Latn-CS" sz="2000" dirty="0"/>
              <a:t>Biorazgradivi deo proizvoda, otpada i ostataka biološkog porekla iz </a:t>
            </a:r>
            <a:r>
              <a:rPr lang="sr-Latn-CS" sz="2000" b="1" dirty="0"/>
              <a:t>poljoprivrede</a:t>
            </a:r>
            <a:r>
              <a:rPr lang="sr-Latn-CS" sz="2000" dirty="0"/>
              <a:t> (uključujući biljne i životinjske materije), </a:t>
            </a:r>
            <a:r>
              <a:rPr lang="sr-Latn-CS" sz="2000" b="1" dirty="0"/>
              <a:t>šumarstva</a:t>
            </a:r>
            <a:r>
              <a:rPr lang="sr-Latn-CS" sz="2000" dirty="0"/>
              <a:t> i povezanih industrija, uključujući ribarstvo i </a:t>
            </a:r>
            <a:r>
              <a:rPr lang="sr-Latn-CS" sz="2000" dirty="0" smtClean="0"/>
              <a:t>akvakulturu, </a:t>
            </a:r>
            <a:r>
              <a:rPr lang="sr-Latn-CS" sz="2000" dirty="0"/>
              <a:t>kao i </a:t>
            </a:r>
            <a:r>
              <a:rPr lang="sr-Latn-CS" sz="2000" b="1" dirty="0"/>
              <a:t>biorazgradivi deo industrijskog i komunalnog otpada </a:t>
            </a:r>
            <a:r>
              <a:rPr lang="sr-Latn-CS" sz="2000" dirty="0"/>
              <a:t>(Direktiva 2008/28/EZ).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4862322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="" xmlns:a16="http://schemas.microsoft.com/office/drawing/2014/main" id="{0622371D-1761-4730-B923-EECAC19E915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7815" y="1856232"/>
            <a:ext cx="8893989" cy="5001768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24127" y="676875"/>
            <a:ext cx="9720072" cy="1499616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sr-Latn-RS" altLang="sr-Latn-RS" sz="4400" dirty="0"/>
              <a:t>Čvrsta </a:t>
            </a:r>
            <a:r>
              <a:rPr lang="sr-Latn-RS" altLang="sr-Latn-RS" sz="4400" dirty="0" smtClean="0"/>
              <a:t>obnovljena </a:t>
            </a:r>
            <a:r>
              <a:rPr lang="sr-Latn-RS" altLang="sr-Latn-RS" sz="4400" dirty="0"/>
              <a:t>goriva</a:t>
            </a:r>
            <a:br>
              <a:rPr lang="sr-Latn-RS" altLang="sr-Latn-RS" sz="4400" dirty="0"/>
            </a:br>
            <a:r>
              <a:rPr lang="sr-Cyrl-RS" altLang="sr-Latn-RS" sz="4400" dirty="0"/>
              <a:t>(</a:t>
            </a:r>
            <a:r>
              <a:rPr lang="en-US" altLang="sr-Latn-RS" sz="4400" dirty="0"/>
              <a:t>SRF- Solid Recovered Fuel</a:t>
            </a:r>
            <a:r>
              <a:rPr lang="sr-Cyrl-RS" altLang="sr-Latn-RS" sz="44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5617520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093" y="404813"/>
            <a:ext cx="10515600" cy="1038225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sr-Latn-RS" dirty="0" smtClean="0">
                <a:latin typeface="Arial" panose="020B0604020202020204" pitchFamily="34" charset="0"/>
                <a:cs typeface="Arial" panose="020B0604020202020204" pitchFamily="34" charset="0"/>
              </a:rPr>
              <a:t>Tehnička </a:t>
            </a:r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dokumentacija i studije uticaja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1" name="Content Placeholder 2"/>
          <p:cNvSpPr>
            <a:spLocks noGrp="1"/>
          </p:cNvSpPr>
          <p:nvPr>
            <p:ph idx="1"/>
          </p:nvPr>
        </p:nvSpPr>
        <p:spPr>
          <a:xfrm>
            <a:off x="146704" y="1631297"/>
            <a:ext cx="8181321" cy="4978400"/>
          </a:xfrm>
        </p:spPr>
        <p:txBody>
          <a:bodyPr>
            <a:normAutofit lnSpcReduction="10000"/>
          </a:bodyPr>
          <a:lstStyle/>
          <a:p>
            <a:r>
              <a:rPr lang="sr-Latn-RS" altLang="en-US" sz="2400" dirty="0" smtClean="0"/>
              <a:t>JP EPS – TPP Kostolac B 1 i 2, ODG</a:t>
            </a:r>
            <a:r>
              <a:rPr lang="en-US" altLang="en-US" sz="2400" dirty="0" smtClean="0"/>
              <a:t>: </a:t>
            </a:r>
            <a:r>
              <a:rPr lang="sr-Latn-RS" altLang="en-US" sz="2400" dirty="0" smtClean="0"/>
              <a:t>studija izvodljivosti i idejni projekat sa EIA studijom</a:t>
            </a:r>
          </a:p>
          <a:p>
            <a:r>
              <a:rPr lang="sr-Latn-RS" altLang="en-US" sz="2400" dirty="0" smtClean="0"/>
              <a:t>TPP Kostolac B3 – </a:t>
            </a:r>
            <a:r>
              <a:rPr lang="en-US" altLang="en-US" sz="2400" dirty="0" smtClean="0"/>
              <a:t>EIA</a:t>
            </a:r>
            <a:r>
              <a:rPr lang="sr-Latn-RS" altLang="en-US" sz="2400" dirty="0" smtClean="0"/>
              <a:t> studija</a:t>
            </a:r>
          </a:p>
          <a:p>
            <a:r>
              <a:rPr lang="sr-Latn-RS" altLang="en-US" sz="2400" dirty="0" smtClean="0"/>
              <a:t>TPP Nikola Tesla A i B, ODG</a:t>
            </a:r>
            <a:r>
              <a:rPr lang="en-US" altLang="en-US" sz="2400" dirty="0" smtClean="0"/>
              <a:t>:</a:t>
            </a:r>
            <a:r>
              <a:rPr lang="sr-Latn-RS" altLang="en-US" sz="2400" dirty="0" smtClean="0"/>
              <a:t> studija izvodljivosti i idejni projekat sa EIA studijom </a:t>
            </a:r>
          </a:p>
          <a:p>
            <a:r>
              <a:rPr lang="sr-Latn-RS" altLang="en-US" sz="2400" dirty="0" smtClean="0"/>
              <a:t>TPP Nikola Tesla A i B – novi sistem on-line kontrole kvaliteta uglja, studija izvodljivosti i idejni projekat sa EIA studijom</a:t>
            </a:r>
            <a:endParaRPr lang="en-US" altLang="en-US" sz="2400" dirty="0" smtClean="0"/>
          </a:p>
          <a:p>
            <a:r>
              <a:rPr lang="sr-Latn-RS" altLang="en-US" sz="2400" dirty="0" smtClean="0"/>
              <a:t>JKP</a:t>
            </a:r>
            <a:r>
              <a:rPr lang="en-US" altLang="en-US" sz="2400" dirty="0" smtClean="0"/>
              <a:t> </a:t>
            </a:r>
            <a:r>
              <a:rPr lang="en-US" altLang="en-US" sz="2400" dirty="0" err="1" smtClean="0"/>
              <a:t>Beogradske</a:t>
            </a:r>
            <a:r>
              <a:rPr lang="en-US" altLang="en-US" sz="2400" dirty="0" smtClean="0"/>
              <a:t> Elektrane – </a:t>
            </a:r>
            <a:r>
              <a:rPr lang="sr-Latn-RS" altLang="en-US" sz="2400" dirty="0" smtClean="0"/>
              <a:t>EIA studije, prijemna ispitivanja kotlova</a:t>
            </a:r>
            <a:endParaRPr lang="en-US" altLang="en-US" sz="2400" dirty="0" smtClean="0"/>
          </a:p>
          <a:p>
            <a:r>
              <a:rPr lang="en-US" altLang="en-US" sz="2400" dirty="0" smtClean="0"/>
              <a:t>TPP Nikola Tesla A: </a:t>
            </a:r>
            <a:r>
              <a:rPr lang="sr-Latn-RS" altLang="en-US" sz="2400" dirty="0" smtClean="0"/>
              <a:t>EIA studija spaljivanja narkotika i zaplenjenih cigareta</a:t>
            </a:r>
            <a:endParaRPr lang="en-US" altLang="en-US" sz="2400" dirty="0" smtClean="0"/>
          </a:p>
          <a:p>
            <a:r>
              <a:rPr lang="sr-Latn-RS" altLang="en-US" sz="2400" dirty="0" smtClean="0"/>
              <a:t>TE-TO Pančevo – EIA studija</a:t>
            </a:r>
            <a:endParaRPr lang="en-GB" altLang="en-US" sz="2400" dirty="0" smtClean="0"/>
          </a:p>
        </p:txBody>
      </p:sp>
      <p:pic>
        <p:nvPicPr>
          <p:cNvPr id="7172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025" y="4365625"/>
            <a:ext cx="3660775" cy="205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9175" y="1403350"/>
            <a:ext cx="3324225" cy="249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1955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425" y="188913"/>
            <a:ext cx="10515600" cy="1325562"/>
          </a:xfrm>
        </p:spPr>
        <p:txBody>
          <a:bodyPr/>
          <a:lstStyle/>
          <a:p>
            <a:pPr>
              <a:defRPr/>
            </a:pP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Te</a:t>
            </a:r>
            <a:r>
              <a:rPr lang="sr-Latn-RS" sz="2800" dirty="0" err="1">
                <a:latin typeface="Arial" panose="020B0604020202020204" pitchFamily="34" charset="0"/>
                <a:cs typeface="Arial" panose="020B0604020202020204" pitchFamily="34" charset="0"/>
              </a:rPr>
              <a:t>hnička</a:t>
            </a:r>
            <a:r>
              <a:rPr lang="sr-Latn-RS" sz="2800" dirty="0">
                <a:latin typeface="Arial" panose="020B0604020202020204" pitchFamily="34" charset="0"/>
                <a:cs typeface="Arial" panose="020B0604020202020204" pitchFamily="34" charset="0"/>
              </a:rPr>
              <a:t> dokumentacija i R&amp;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D </a:t>
            </a:r>
            <a:r>
              <a:rPr lang="sr-Latn-RS" sz="2800" dirty="0">
                <a:latin typeface="Arial" panose="020B0604020202020204" pitchFamily="34" charset="0"/>
                <a:cs typeface="Arial" panose="020B0604020202020204" pitchFamily="34" charset="0"/>
              </a:rPr>
              <a:t>u energetskim i industrijskim sistemima</a:t>
            </a:r>
            <a:endParaRPr lang="en-GB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95" name="Content Placeholder 2"/>
          <p:cNvSpPr>
            <a:spLocks noGrp="1"/>
          </p:cNvSpPr>
          <p:nvPr>
            <p:ph idx="1"/>
          </p:nvPr>
        </p:nvSpPr>
        <p:spPr>
          <a:xfrm>
            <a:off x="479425" y="1341438"/>
            <a:ext cx="8207375" cy="5099703"/>
          </a:xfrm>
        </p:spPr>
        <p:txBody>
          <a:bodyPr>
            <a:normAutofit/>
          </a:bodyPr>
          <a:lstStyle/>
          <a:p>
            <a:r>
              <a:rPr lang="sr-Latn-RS" altLang="en-US" sz="2000" dirty="0" smtClean="0"/>
              <a:t>Projekti CEMS u NIS RNP, MSK, </a:t>
            </a:r>
            <a:r>
              <a:rPr lang="en-US" altLang="en-US" sz="2000" dirty="0" smtClean="0"/>
              <a:t>T</a:t>
            </a:r>
            <a:r>
              <a:rPr lang="sr-Latn-RS" altLang="en-US" sz="2000" dirty="0" smtClean="0"/>
              <a:t>E</a:t>
            </a:r>
            <a:r>
              <a:rPr lang="en-US" altLang="en-US" sz="2000" dirty="0" smtClean="0"/>
              <a:t> Morava, </a:t>
            </a:r>
            <a:r>
              <a:rPr lang="sr-Latn-RS" altLang="en-US" sz="2000" dirty="0" smtClean="0"/>
              <a:t>JKP Toplane </a:t>
            </a:r>
            <a:r>
              <a:rPr lang="en-US" altLang="en-US" sz="2000" dirty="0" smtClean="0"/>
              <a:t>Novi Sad</a:t>
            </a:r>
          </a:p>
          <a:p>
            <a:r>
              <a:rPr lang="sr-Latn-RS" altLang="en-US" sz="2000" dirty="0" smtClean="0"/>
              <a:t>Analiza i predlog unapredjenja rada sistema odpepeljavanja u TE</a:t>
            </a:r>
            <a:r>
              <a:rPr lang="en-US" altLang="en-US" sz="2000" dirty="0" smtClean="0"/>
              <a:t> Nikola Tesla B</a:t>
            </a:r>
            <a:endParaRPr lang="sr-Latn-RS" altLang="en-US" sz="2000" dirty="0" smtClean="0"/>
          </a:p>
          <a:p>
            <a:r>
              <a:rPr lang="sr-Latn-RS" altLang="en-US" sz="2000" dirty="0" smtClean="0"/>
              <a:t>TENT A5, 6, TENT B1 i B2, studije opravdanosti i idejni i glavni projekti sistema za vizuelizaciju, praćenje, kontrolu i analizu plamena u ložištima</a:t>
            </a:r>
            <a:endParaRPr lang="en-US" altLang="en-US" sz="2000" dirty="0" smtClean="0"/>
          </a:p>
          <a:p>
            <a:r>
              <a:rPr lang="en-US" altLang="en-US" sz="2000" dirty="0" smtClean="0"/>
              <a:t>IPPC </a:t>
            </a:r>
            <a:r>
              <a:rPr lang="sr-Latn-RS" altLang="en-US" sz="2000" dirty="0" smtClean="0"/>
              <a:t>dokumentacija za TE u JP EPS</a:t>
            </a:r>
          </a:p>
          <a:p>
            <a:r>
              <a:rPr lang="sr-Latn-RS" altLang="en-US" sz="2000" dirty="0" smtClean="0"/>
              <a:t>Ispitivanje bloka termoelektrane TENT B1</a:t>
            </a:r>
          </a:p>
          <a:p>
            <a:r>
              <a:rPr lang="sr-Latn-RS" altLang="en-US" sz="2000" dirty="0" smtClean="0"/>
              <a:t>Merenja emisije – JKP BE, osnovne škole akre</a:t>
            </a:r>
          </a:p>
          <a:p>
            <a:r>
              <a:rPr lang="sr-Latn-RS" altLang="en-US" sz="2000" dirty="0" smtClean="0"/>
              <a:t>Projekat napajanja demi voodm pomoćne kotlarnice u TENT B</a:t>
            </a:r>
          </a:p>
          <a:p>
            <a:r>
              <a:rPr lang="sr-Latn-RS" altLang="en-US" sz="2000" dirty="0" smtClean="0"/>
              <a:t>Uvodjenje sistema MRV za GHG u</a:t>
            </a:r>
            <a:r>
              <a:rPr lang="en-US" altLang="en-US" sz="2000" dirty="0" smtClean="0"/>
              <a:t> JP EPS</a:t>
            </a:r>
          </a:p>
          <a:p>
            <a:r>
              <a:rPr lang="sr-Latn-RS" altLang="en-US" sz="2000" dirty="0" smtClean="0"/>
              <a:t>TETO Zrenjanin i TETO Sremska Mitorovica – projekat konzervacije kotlova</a:t>
            </a:r>
          </a:p>
        </p:txBody>
      </p:sp>
      <p:pic>
        <p:nvPicPr>
          <p:cNvPr id="8196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2700" y="2667000"/>
            <a:ext cx="2843213" cy="2132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700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MODELI</a:t>
            </a:r>
            <a:r>
              <a:rPr lang="sr-Latn-RS" altLang="en-US" dirty="0">
                <a:latin typeface="Arial" panose="020B0604020202020204" pitchFamily="34" charset="0"/>
                <a:cs typeface="Arial" panose="020B0604020202020204" pitchFamily="34" charset="0"/>
              </a:rPr>
              <a:t>RANJE KVALITETA VAZDUHA</a:t>
            </a:r>
          </a:p>
        </p:txBody>
      </p:sp>
      <p:sp>
        <p:nvSpPr>
          <p:cNvPr id="9219" name="Content Placeholder 2"/>
          <p:cNvSpPr>
            <a:spLocks noGrp="1"/>
          </p:cNvSpPr>
          <p:nvPr>
            <p:ph idx="1"/>
          </p:nvPr>
        </p:nvSpPr>
        <p:spPr>
          <a:xfrm>
            <a:off x="180975" y="2084832"/>
            <a:ext cx="6799263" cy="4351337"/>
          </a:xfrm>
        </p:spPr>
        <p:txBody>
          <a:bodyPr>
            <a:normAutofit fontScale="92500"/>
          </a:bodyPr>
          <a:lstStyle/>
          <a:p>
            <a:r>
              <a:rPr lang="en-US" altLang="en-US" sz="2400" dirty="0" smtClean="0">
                <a:cs typeface="Times New Roman" panose="02020603050405020304" pitchFamily="18" charset="0"/>
              </a:rPr>
              <a:t>T</a:t>
            </a:r>
            <a:r>
              <a:rPr lang="sr-Latn-RS" altLang="en-US" sz="2400" dirty="0" smtClean="0">
                <a:cs typeface="Times New Roman" panose="02020603050405020304" pitchFamily="18" charset="0"/>
              </a:rPr>
              <a:t>E</a:t>
            </a:r>
            <a:r>
              <a:rPr lang="en-US" altLang="en-US" sz="2400" dirty="0" smtClean="0">
                <a:cs typeface="Times New Roman" panose="02020603050405020304" pitchFamily="18" charset="0"/>
              </a:rPr>
              <a:t> KOSTOLAC A </a:t>
            </a:r>
            <a:r>
              <a:rPr lang="sr-Latn-RS" altLang="en-US" sz="2400" dirty="0" smtClean="0">
                <a:cs typeface="Times New Roman" panose="02020603050405020304" pitchFamily="18" charset="0"/>
              </a:rPr>
              <a:t>i</a:t>
            </a:r>
            <a:r>
              <a:rPr lang="en-US" altLang="en-US" sz="2400" dirty="0" smtClean="0">
                <a:cs typeface="Times New Roman" panose="02020603050405020304" pitchFamily="18" charset="0"/>
              </a:rPr>
              <a:t> B</a:t>
            </a:r>
            <a:endParaRPr lang="sr-Latn-RS" altLang="en-US" sz="2400" dirty="0" smtClean="0">
              <a:cs typeface="Times New Roman" panose="02020603050405020304" pitchFamily="18" charset="0"/>
            </a:endParaRPr>
          </a:p>
          <a:p>
            <a:r>
              <a:rPr lang="sr-Latn-RS" altLang="en-US" sz="2400" dirty="0" smtClean="0">
                <a:cs typeface="Times New Roman" panose="02020603050405020304" pitchFamily="18" charset="0"/>
              </a:rPr>
              <a:t>TE Nikola Tesla A (pre i posle ODG)</a:t>
            </a:r>
          </a:p>
          <a:p>
            <a:r>
              <a:rPr lang="sr-Latn-RS" altLang="en-US" sz="2400" dirty="0" smtClean="0">
                <a:cs typeface="Times New Roman" panose="02020603050405020304" pitchFamily="18" charset="0"/>
              </a:rPr>
              <a:t>TE Nikola Tesla B (pre i posle ODG, pre i posle rekonstrukcije kotla)</a:t>
            </a:r>
          </a:p>
          <a:p>
            <a:r>
              <a:rPr lang="sr-Latn-RS" altLang="en-US" sz="2400" dirty="0" smtClean="0">
                <a:cs typeface="Times New Roman" panose="02020603050405020304" pitchFamily="18" charset="0"/>
              </a:rPr>
              <a:t>Svaka TE u JP EPS za potrebe IPPC dozvola kao i izrade Strateške procene uticaja na žs NERP </a:t>
            </a:r>
          </a:p>
          <a:p>
            <a:r>
              <a:rPr lang="sr-Latn-RS" altLang="en-US" sz="2400" dirty="0" smtClean="0">
                <a:cs typeface="Times New Roman" panose="02020603050405020304" pitchFamily="18" charset="0"/>
              </a:rPr>
              <a:t>Lafarge, Holcim (CRH), Titan cementare</a:t>
            </a:r>
          </a:p>
          <a:p>
            <a:r>
              <a:rPr lang="sr-Latn-RS" altLang="en-US" sz="2400" dirty="0" smtClean="0">
                <a:cs typeface="Times New Roman" panose="02020603050405020304" pitchFamily="18" charset="0"/>
              </a:rPr>
              <a:t>Rio Tinto (Rio Sava), </a:t>
            </a:r>
            <a:r>
              <a:rPr lang="en-US" altLang="en-US" sz="2400" dirty="0" err="1" smtClean="0">
                <a:cs typeface="Times New Roman" panose="02020603050405020304" pitchFamily="18" charset="0"/>
              </a:rPr>
              <a:t>povr</a:t>
            </a:r>
            <a:r>
              <a:rPr lang="sr-Latn-RS" altLang="en-US" sz="2400" dirty="0" smtClean="0">
                <a:cs typeface="Times New Roman" panose="02020603050405020304" pitchFamily="18" charset="0"/>
              </a:rPr>
              <a:t>š</a:t>
            </a:r>
            <a:r>
              <a:rPr lang="en-US" altLang="en-US" sz="2400" dirty="0" err="1" smtClean="0">
                <a:cs typeface="Times New Roman" panose="02020603050405020304" pitchFamily="18" charset="0"/>
              </a:rPr>
              <a:t>inski</a:t>
            </a:r>
            <a:r>
              <a:rPr lang="en-US" altLang="en-US" sz="2400" dirty="0" smtClean="0">
                <a:cs typeface="Times New Roman" panose="02020603050405020304" pitchFamily="18" charset="0"/>
              </a:rPr>
              <a:t>, </a:t>
            </a:r>
            <a:r>
              <a:rPr lang="en-US" altLang="en-US" sz="2400" dirty="0" err="1" smtClean="0">
                <a:cs typeface="Times New Roman" panose="02020603050405020304" pitchFamily="18" charset="0"/>
              </a:rPr>
              <a:t>linijski</a:t>
            </a:r>
            <a:r>
              <a:rPr lang="en-US" altLang="en-US" sz="2400" dirty="0" smtClean="0">
                <a:cs typeface="Times New Roman" panose="02020603050405020304" pitchFamily="18" charset="0"/>
              </a:rPr>
              <a:t> </a:t>
            </a:r>
            <a:r>
              <a:rPr lang="sr-Latn-RS" altLang="en-US" sz="2400" dirty="0" smtClean="0">
                <a:cs typeface="Times New Roman" panose="02020603050405020304" pitchFamily="18" charset="0"/>
              </a:rPr>
              <a:t>i</a:t>
            </a:r>
            <a:r>
              <a:rPr lang="en-US" altLang="en-US" sz="2400" dirty="0" smtClean="0">
                <a:cs typeface="Times New Roman" panose="02020603050405020304" pitchFamily="18" charset="0"/>
              </a:rPr>
              <a:t> ta</a:t>
            </a:r>
            <a:r>
              <a:rPr lang="sr-Latn-RS" altLang="en-US" sz="2400" dirty="0" smtClean="0">
                <a:cs typeface="Times New Roman" panose="02020603050405020304" pitchFamily="18" charset="0"/>
              </a:rPr>
              <a:t>čk</a:t>
            </a:r>
            <a:r>
              <a:rPr lang="en-US" altLang="en-US" sz="2400" dirty="0" err="1" smtClean="0">
                <a:cs typeface="Times New Roman" panose="02020603050405020304" pitchFamily="18" charset="0"/>
              </a:rPr>
              <a:t>asti</a:t>
            </a:r>
            <a:r>
              <a:rPr lang="en-US" altLang="en-US" sz="2400" dirty="0" smtClean="0">
                <a:cs typeface="Times New Roman" panose="02020603050405020304" pitchFamily="18" charset="0"/>
              </a:rPr>
              <a:t> </a:t>
            </a:r>
            <a:r>
              <a:rPr lang="en-US" altLang="en-US" sz="2400" dirty="0" err="1" smtClean="0">
                <a:cs typeface="Times New Roman" panose="02020603050405020304" pitchFamily="18" charset="0"/>
              </a:rPr>
              <a:t>i</a:t>
            </a:r>
            <a:r>
              <a:rPr lang="sr-Latn-RS" altLang="en-US" sz="2400" dirty="0" smtClean="0">
                <a:cs typeface="Times New Roman" panose="02020603050405020304" pitchFamily="18" charset="0"/>
              </a:rPr>
              <a:t>z</a:t>
            </a:r>
            <a:r>
              <a:rPr lang="en-US" altLang="en-US" sz="2400" dirty="0" err="1" smtClean="0">
                <a:cs typeface="Times New Roman" panose="02020603050405020304" pitchFamily="18" charset="0"/>
              </a:rPr>
              <a:t>vori</a:t>
            </a:r>
            <a:endParaRPr lang="sr-Latn-RS" altLang="en-US" sz="2400" dirty="0" smtClean="0">
              <a:cs typeface="Times New Roman" panose="02020603050405020304" pitchFamily="18" charset="0"/>
            </a:endParaRPr>
          </a:p>
          <a:p>
            <a:r>
              <a:rPr lang="sr-Latn-RS" altLang="en-US" sz="2400" dirty="0" smtClean="0">
                <a:cs typeface="Times New Roman" panose="02020603050405020304" pitchFamily="18" charset="0"/>
              </a:rPr>
              <a:t>TE-TO Pančevo </a:t>
            </a:r>
          </a:p>
        </p:txBody>
      </p:sp>
      <p:pic>
        <p:nvPicPr>
          <p:cNvPr id="9220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0238" y="2420938"/>
            <a:ext cx="5211762" cy="279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08428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sz="440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u 28 emisije posle 2000. god</a:t>
            </a:r>
            <a:endParaRPr lang="en-GB" sz="44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286000"/>
            <a:ext cx="5628861" cy="377848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6999" y="2403284"/>
            <a:ext cx="5461330" cy="366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155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9656" y="652002"/>
            <a:ext cx="11302343" cy="961645"/>
          </a:xfrm>
        </p:spPr>
        <p:txBody>
          <a:bodyPr>
            <a:normAutofit/>
          </a:bodyPr>
          <a:lstStyle/>
          <a:p>
            <a:r>
              <a:rPr lang="sr-Latn-RS" sz="400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end emisija u eu 28 po ključnim izvorima</a:t>
            </a:r>
            <a:endParaRPr lang="en-GB" sz="4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613646"/>
            <a:ext cx="6588827" cy="367104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5718" y="3314152"/>
            <a:ext cx="6786282" cy="3543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147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sz="4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spodela i </a:t>
            </a:r>
            <a:r>
              <a:rPr lang="sr-Latn-RS" sz="400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endovi</a:t>
            </a:r>
            <a:r>
              <a:rPr lang="en-US" sz="400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EU 28</a:t>
            </a:r>
            <a:endParaRPr lang="en-GB" sz="4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Content Placeholder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4897" y="1863737"/>
            <a:ext cx="7253816" cy="4463886"/>
          </a:xfrm>
          <a:prstGeom prst="rect">
            <a:avLst/>
          </a:prstGeom>
        </p:spPr>
      </p:pic>
      <p:pic>
        <p:nvPicPr>
          <p:cNvPr id="6" name="Content Placeholder 3"/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8713" y="2207420"/>
            <a:ext cx="4635709" cy="3776521"/>
          </a:xfrm>
        </p:spPr>
      </p:pic>
      <p:sp>
        <p:nvSpPr>
          <p:cNvPr id="3" name="Oval 2"/>
          <p:cNvSpPr/>
          <p:nvPr/>
        </p:nvSpPr>
        <p:spPr>
          <a:xfrm>
            <a:off x="5402909" y="3225860"/>
            <a:ext cx="731788" cy="263562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Oval 6"/>
          <p:cNvSpPr/>
          <p:nvPr/>
        </p:nvSpPr>
        <p:spPr>
          <a:xfrm>
            <a:off x="3887875" y="2613212"/>
            <a:ext cx="731788" cy="263562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1178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9" y="241509"/>
            <a:ext cx="4513730" cy="1499616"/>
          </a:xfrm>
        </p:spPr>
        <p:txBody>
          <a:bodyPr>
            <a:normAutofit/>
          </a:bodyPr>
          <a:lstStyle/>
          <a:p>
            <a:r>
              <a:rPr lang="sr-Latn-RS" sz="44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ljučne poruke</a:t>
            </a:r>
            <a:endParaRPr lang="en-GB" sz="44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1929" y="991317"/>
            <a:ext cx="6840071" cy="2029161"/>
          </a:xfrm>
        </p:spPr>
        <p:txBody>
          <a:bodyPr>
            <a:normAutofit/>
          </a:bodyPr>
          <a:lstStyle/>
          <a:p>
            <a:pPr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sr-Latn-RS" sz="2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bližno 1/4</a:t>
            </a:r>
            <a:r>
              <a:rPr lang="en-US" sz="2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23%) </a:t>
            </a:r>
            <a:r>
              <a:rPr lang="sr-Latn-RS" sz="2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isija u v</a:t>
            </a:r>
            <a:r>
              <a:rPr lang="en-US" sz="2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sr-Latn-RS" sz="2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duh je iz agro-industrijskog sektora – </a:t>
            </a:r>
            <a:r>
              <a:rPr lang="en-US" sz="2000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ulisani</a:t>
            </a:r>
            <a:r>
              <a:rPr lang="en-US" sz="2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ED-om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sr-Latn-RS" sz="20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bližno 60 % emisija je iz drugih izvora </a:t>
            </a:r>
            <a:r>
              <a:rPr lang="sr-Latn-RS" sz="2000" dirty="0">
                <a:latin typeface="Calibri" panose="020F0502020204030204" pitchFamily="34" charset="0"/>
                <a:cs typeface="Calibri" panose="020F0502020204030204" pitchFamily="34" charset="0"/>
              </a:rPr>
              <a:t>koji nisu direktno regulisani EU propisima (padaju ispod granica za npr. IED i sl.) i iz sektora transporta, domaćinstava, komercijalnog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gde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je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e</a:t>
            </a:r>
            <a:r>
              <a:rPr lang="sr-Latn-RS" sz="2000" dirty="0">
                <a:latin typeface="Calibri" panose="020F0502020204030204" pitchFamily="34" charset="0"/>
                <a:cs typeface="Calibri" panose="020F0502020204030204" pitchFamily="34" charset="0"/>
              </a:rPr>
              <a:t>ško utvrditi vezu izmedju izvora i uticaja na zagadjenj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469" y="1594273"/>
            <a:ext cx="4701990" cy="2852410"/>
          </a:xfrm>
          <a:prstGeom prst="rect">
            <a:avLst/>
          </a:prstGeom>
        </p:spPr>
      </p:pic>
      <p:pic>
        <p:nvPicPr>
          <p:cNvPr id="6" name="Content Placeholder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9303" y="3145541"/>
            <a:ext cx="5883003" cy="3161129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0" y="4481027"/>
            <a:ext cx="6096000" cy="2246769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sr-Latn-RS" sz="2000" dirty="0">
                <a:latin typeface="Calibri" panose="020F0502020204030204" pitchFamily="34" charset="0"/>
                <a:cs typeface="Calibri" panose="020F0502020204030204" pitchFamily="34" charset="0"/>
              </a:rPr>
              <a:t>Emisije iz onih aktivnosti koje su regulisane pojedinim EU propisima (NEC, ETS, ...) ili koje nisu regulisane EU propisima u pogledu zagadjenja vazduha su relativno niske, ali ne i beznačajne (7 i 10%)</a:t>
            </a:r>
          </a:p>
          <a:p>
            <a:pPr algn="just">
              <a:buFont typeface="Wingdings" panose="05000000000000000000" pitchFamily="2" charset="2"/>
              <a:buChar char="§"/>
            </a:pPr>
            <a:r>
              <a:rPr lang="sr-Latn-RS" sz="2000" dirty="0">
                <a:latin typeface="Calibri" panose="020F0502020204030204" pitchFamily="34" charset="0"/>
                <a:cs typeface="Calibri" panose="020F0502020204030204" pitchFamily="34" charset="0"/>
              </a:rPr>
              <a:t>CP ispod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50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Wth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sr-Latn-RS" sz="2000" dirty="0">
                <a:latin typeface="Calibri" panose="020F0502020204030204" pitchFamily="34" charset="0"/>
                <a:cs typeface="Calibri" panose="020F0502020204030204" pitchFamily="34" charset="0"/>
              </a:rPr>
              <a:t>čine uglavnom izvor emisije Nox, PM, Sox iz sektora koji su samo delimično pokriveni EU propisima – osnov za MCP directive</a:t>
            </a:r>
            <a:endParaRPr lang="en-GB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4370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170E8E-CC43-4570-8796-FDFE2E751706}" type="slidenum">
              <a:rPr lang="en-US" altLang="en-US"/>
              <a:pPr/>
              <a:t>6</a:t>
            </a:fld>
            <a:endParaRPr lang="en-US" altLang="en-US"/>
          </a:p>
        </p:txBody>
      </p:sp>
      <p:sp>
        <p:nvSpPr>
          <p:cNvPr id="165892" name="Rectangle 4"/>
          <p:cNvSpPr>
            <a:spLocks noGrp="1" noChangeArrowheads="1"/>
          </p:cNvSpPr>
          <p:nvPr>
            <p:ph type="title"/>
          </p:nvPr>
        </p:nvSpPr>
        <p:spPr>
          <a:xfrm>
            <a:off x="1024128" y="585216"/>
            <a:ext cx="10836178" cy="1499616"/>
          </a:xfrm>
          <a:noFill/>
          <a:ln/>
        </p:spPr>
        <p:txBody>
          <a:bodyPr>
            <a:normAutofit/>
          </a:bodyPr>
          <a:lstStyle/>
          <a:p>
            <a:r>
              <a:rPr lang="sr-Latn-RS" altLang="en-US" sz="4000" dirty="0" smtClean="0"/>
              <a:t>propisi – promene tokom vremena</a:t>
            </a:r>
            <a:endParaRPr lang="en-US" altLang="en-US" sz="4000" dirty="0"/>
          </a:p>
        </p:txBody>
      </p:sp>
      <p:pic>
        <p:nvPicPr>
          <p:cNvPr id="165895" name="Picture 7" descr="&#10;NUMREG.GIF                                                     0001EC2BMacintosh HD                   ABA78158: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2311856"/>
            <a:ext cx="5437095" cy="3404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5896" name="Text Box 8"/>
          <p:cNvSpPr txBox="1">
            <a:spLocks noChangeArrowheads="1"/>
          </p:cNvSpPr>
          <p:nvPr/>
        </p:nvSpPr>
        <p:spPr bwMode="auto">
          <a:xfrm>
            <a:off x="2590800" y="5943600"/>
            <a:ext cx="57150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lnSpc>
                <a:spcPct val="75000"/>
              </a:lnSpc>
              <a:spcBef>
                <a:spcPct val="50000"/>
              </a:spcBef>
            </a:pPr>
            <a:r>
              <a:rPr lang="en-US" altLang="en-US" sz="1200" i="1">
                <a:latin typeface="Arial" panose="020B0604020202020204" pitchFamily="34" charset="0"/>
              </a:rPr>
              <a:t>Bishop, “Pollution Prevention: Fundamentals and Practice”, McGraw-Hill, 2000</a:t>
            </a:r>
          </a:p>
        </p:txBody>
      </p:sp>
      <p:sp>
        <p:nvSpPr>
          <p:cNvPr id="165899" name="Text Box 11"/>
          <p:cNvSpPr txBox="1">
            <a:spLocks noChangeArrowheads="1"/>
          </p:cNvSpPr>
          <p:nvPr/>
        </p:nvSpPr>
        <p:spPr bwMode="auto">
          <a:xfrm>
            <a:off x="3808163" y="1920586"/>
            <a:ext cx="263405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sr-Latn-RS" altLang="en-US" dirty="0" smtClean="0">
                <a:solidFill>
                  <a:srgbClr val="006600"/>
                </a:solidFill>
                <a:latin typeface="Arial" panose="020B0604020202020204" pitchFamily="34" charset="0"/>
              </a:rPr>
              <a:t>Broj propisa u zžs -USA</a:t>
            </a:r>
            <a:endParaRPr lang="en-US" altLang="en-US" dirty="0">
              <a:solidFill>
                <a:srgbClr val="0066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2157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sz="4400" dirty="0"/>
              <a:t>Borba za održivi razvoj</a:t>
            </a:r>
            <a:endParaRPr lang="en-GB" sz="4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37924" y="3475413"/>
            <a:ext cx="5554076" cy="326528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500F9BD6-4B90-409D-BB75-31CC00F708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8473" y="2390050"/>
            <a:ext cx="6698411" cy="36782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2075" tIns="46038" rIns="92075" bIns="46038"/>
          <a:lstStyle>
            <a:lvl1pPr marL="1050925" indent="-1050925"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1527175" indent="-285750"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946275" indent="-228600"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2365375" indent="-228600"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784475" indent="-228600"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3241675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698875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4156075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613275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lnSpc>
                <a:spcPct val="80000"/>
              </a:lnSpc>
              <a:spcBef>
                <a:spcPct val="70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None/>
            </a:pPr>
            <a:r>
              <a:rPr lang="en-US" altLang="en-US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+mj-lt"/>
              </a:rPr>
              <a:t>1972 – United Nations Conference on the </a:t>
            </a:r>
            <a:r>
              <a:rPr lang="sl-SI" altLang="en-US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+mj-lt"/>
              </a:rPr>
              <a:t> </a:t>
            </a:r>
            <a:r>
              <a:rPr lang="en-US" altLang="en-US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+mj-lt"/>
              </a:rPr>
              <a:t>Human Environment, Stockholm</a:t>
            </a:r>
          </a:p>
          <a:p>
            <a:pPr>
              <a:lnSpc>
                <a:spcPct val="80000"/>
              </a:lnSpc>
              <a:spcBef>
                <a:spcPct val="70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None/>
            </a:pPr>
            <a:r>
              <a:rPr lang="en-US" altLang="en-US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+mj-lt"/>
              </a:rPr>
              <a:t>1987 - </a:t>
            </a:r>
            <a:r>
              <a:rPr lang="en-US" altLang="en-US" sz="2000" dirty="0" err="1">
                <a:effectLst>
                  <a:outerShdw blurRad="38100" dist="38100" dir="2700000" algn="tl">
                    <a:srgbClr val="FFFFFF"/>
                  </a:outerShdw>
                </a:effectLst>
                <a:latin typeface="+mj-lt"/>
              </a:rPr>
              <a:t>Brundtland’s</a:t>
            </a:r>
            <a:r>
              <a:rPr lang="en-US" altLang="en-US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+mj-lt"/>
              </a:rPr>
              <a:t> Report “Our Common Future” and the concept of “sustainable development”</a:t>
            </a:r>
          </a:p>
          <a:p>
            <a:pPr>
              <a:lnSpc>
                <a:spcPct val="80000"/>
              </a:lnSpc>
              <a:spcBef>
                <a:spcPct val="70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None/>
            </a:pPr>
            <a:r>
              <a:rPr lang="en-US" altLang="en-US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+mj-lt"/>
              </a:rPr>
              <a:t>1989 - CP </a:t>
            </a:r>
            <a:r>
              <a:rPr lang="en-US" altLang="en-US" sz="2000" dirty="0" err="1">
                <a:effectLst>
                  <a:outerShdw blurRad="38100" dist="38100" dir="2700000" algn="tl">
                    <a:srgbClr val="FFFFFF"/>
                  </a:outerShdw>
                </a:effectLst>
                <a:latin typeface="+mj-lt"/>
              </a:rPr>
              <a:t>Programme</a:t>
            </a:r>
            <a:r>
              <a:rPr lang="en-US" altLang="en-US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+mj-lt"/>
              </a:rPr>
              <a:t> at UNEP </a:t>
            </a:r>
          </a:p>
          <a:p>
            <a:pPr>
              <a:lnSpc>
                <a:spcPct val="80000"/>
              </a:lnSpc>
              <a:spcBef>
                <a:spcPct val="70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None/>
            </a:pPr>
            <a:r>
              <a:rPr lang="en-US" altLang="en-US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+mj-lt"/>
              </a:rPr>
              <a:t>1992 – United Nations Conference on  Environment and Development  and the adoption of Agenda 21</a:t>
            </a:r>
          </a:p>
          <a:p>
            <a:pPr>
              <a:lnSpc>
                <a:spcPct val="80000"/>
              </a:lnSpc>
              <a:spcBef>
                <a:spcPct val="70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None/>
            </a:pPr>
            <a:r>
              <a:rPr lang="en-US" altLang="en-US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+mj-lt"/>
              </a:rPr>
              <a:t>1994 - UNIDO/ UNEP NCPC </a:t>
            </a:r>
            <a:r>
              <a:rPr lang="en-US" altLang="en-US" sz="2000" dirty="0" err="1">
                <a:effectLst>
                  <a:outerShdw blurRad="38100" dist="38100" dir="2700000" algn="tl">
                    <a:srgbClr val="FFFFFF"/>
                  </a:outerShdw>
                </a:effectLst>
                <a:latin typeface="+mj-lt"/>
              </a:rPr>
              <a:t>Programme</a:t>
            </a:r>
            <a:r>
              <a:rPr lang="en-US" altLang="en-US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+mj-lt"/>
              </a:rPr>
              <a:t> </a:t>
            </a:r>
          </a:p>
          <a:p>
            <a:pPr>
              <a:lnSpc>
                <a:spcPct val="80000"/>
              </a:lnSpc>
              <a:spcBef>
                <a:spcPct val="70000"/>
              </a:spcBef>
              <a:buClr>
                <a:schemeClr val="tx2"/>
              </a:buClr>
              <a:buSzPct val="75000"/>
              <a:buFont typeface="Wingdings" panose="05000000000000000000" pitchFamily="2" charset="2"/>
              <a:buNone/>
            </a:pPr>
            <a:r>
              <a:rPr lang="en-US" altLang="en-US" sz="2000" dirty="0">
                <a:effectLst>
                  <a:outerShdw blurRad="38100" dist="38100" dir="2700000" algn="tl">
                    <a:srgbClr val="FFFFFF"/>
                  </a:outerShdw>
                </a:effectLst>
                <a:latin typeface="+mj-lt"/>
              </a:rPr>
              <a:t>1998 - UNEP’s International Declaration on CP</a:t>
            </a:r>
          </a:p>
        </p:txBody>
      </p:sp>
      <p:sp>
        <p:nvSpPr>
          <p:cNvPr id="6" name="Rectangle 5"/>
          <p:cNvSpPr/>
          <p:nvPr/>
        </p:nvSpPr>
        <p:spPr>
          <a:xfrm>
            <a:off x="8822418" y="1001870"/>
            <a:ext cx="348727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FF0000"/>
                </a:solidFill>
              </a:rPr>
              <a:t>Convention on Long-Range Transboundary Air </a:t>
            </a:r>
            <a:r>
              <a:rPr lang="en-US" b="1" dirty="0" smtClean="0">
                <a:solidFill>
                  <a:srgbClr val="FF0000"/>
                </a:solidFill>
              </a:rPr>
              <a:t>Pollu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rgbClr val="FF0000"/>
                </a:solidFill>
              </a:rPr>
              <a:t>SFRJ </a:t>
            </a:r>
            <a:r>
              <a:rPr lang="en-US" b="1" dirty="0" err="1" smtClean="0">
                <a:solidFill>
                  <a:srgbClr val="FF0000"/>
                </a:solidFill>
              </a:rPr>
              <a:t>jedan</a:t>
            </a:r>
            <a:r>
              <a:rPr lang="en-US" b="1" dirty="0" smtClean="0">
                <a:solidFill>
                  <a:srgbClr val="FF0000"/>
                </a:solidFill>
              </a:rPr>
              <a:t> od </a:t>
            </a:r>
            <a:r>
              <a:rPr lang="en-US" b="1" dirty="0" err="1" smtClean="0">
                <a:solidFill>
                  <a:srgbClr val="FF0000"/>
                </a:solidFill>
              </a:rPr>
              <a:t>osnivaca</a:t>
            </a:r>
            <a:r>
              <a:rPr lang="en-US" b="1" dirty="0" smtClean="0">
                <a:solidFill>
                  <a:srgbClr val="FF0000"/>
                </a:solidFill>
              </a:rPr>
              <a:t> 1979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err="1" smtClean="0">
                <a:solidFill>
                  <a:srgbClr val="FF0000"/>
                </a:solidFill>
              </a:rPr>
              <a:t>Naslednice</a:t>
            </a:r>
            <a:r>
              <a:rPr lang="en-US" b="1" dirty="0" smtClean="0">
                <a:solidFill>
                  <a:srgbClr val="FF0000"/>
                </a:solidFill>
              </a:rPr>
              <a:t> </a:t>
            </a:r>
            <a:r>
              <a:rPr lang="en-US" b="1" dirty="0" err="1" smtClean="0">
                <a:solidFill>
                  <a:srgbClr val="FF0000"/>
                </a:solidFill>
              </a:rPr>
              <a:t>ratifikovale</a:t>
            </a:r>
            <a:r>
              <a:rPr lang="en-US" b="1" dirty="0" smtClean="0">
                <a:solidFill>
                  <a:srgbClr val="FF0000"/>
                </a:solidFill>
              </a:rPr>
              <a:t> </a:t>
            </a:r>
            <a:r>
              <a:rPr lang="en-US" b="1" dirty="0" err="1" smtClean="0">
                <a:solidFill>
                  <a:srgbClr val="FF0000"/>
                </a:solidFill>
              </a:rPr>
              <a:t>tek</a:t>
            </a:r>
            <a:r>
              <a:rPr lang="en-US" b="1" dirty="0" smtClean="0">
                <a:solidFill>
                  <a:srgbClr val="FF0000"/>
                </a:solidFill>
              </a:rPr>
              <a:t> 201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rgbClr val="FF0000"/>
                </a:solidFill>
              </a:rPr>
              <a:t>8 </a:t>
            </a:r>
            <a:r>
              <a:rPr lang="en-US" b="1" dirty="0" err="1" smtClean="0">
                <a:solidFill>
                  <a:srgbClr val="FF0000"/>
                </a:solidFill>
              </a:rPr>
              <a:t>protokola</a:t>
            </a:r>
            <a:endParaRPr lang="en-US" b="1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1534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1938" y="488963"/>
            <a:ext cx="9720072" cy="1499616"/>
          </a:xfrm>
        </p:spPr>
        <p:txBody>
          <a:bodyPr>
            <a:normAutofit/>
          </a:bodyPr>
          <a:lstStyle/>
          <a:p>
            <a:r>
              <a:rPr lang="sr-Latn-RS" sz="44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litika čistog vazduha u </a:t>
            </a:r>
            <a:r>
              <a:rPr lang="sr-Latn-RS" sz="440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u</a:t>
            </a:r>
            <a:r>
              <a:rPr lang="en-US" sz="440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440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lobalno</a:t>
            </a:r>
            <a:endParaRPr lang="en-US" sz="44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91954" y="2107478"/>
            <a:ext cx="7840040" cy="415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6358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806824" y="1866169"/>
            <a:ext cx="8202705" cy="48397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sr-Latn-RS" sz="22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to je doneta nova NEC direktiva </a:t>
            </a:r>
            <a:r>
              <a:rPr lang="sr-Latn-RS" sz="2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 ciljevima za 2020. i 2030. godinu (SO2, NOx, NMVOCs, NH3, PM2.5, CH4)</a:t>
            </a:r>
            <a:endParaRPr lang="en-US" sz="2200" dirty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sr-Latn-RS" sz="2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enjeno je da će njena primena koštati oko 2,2 to 3,3 mlrd eur godišnje.</a:t>
            </a:r>
            <a:endParaRPr lang="en-US" sz="2200" dirty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sr-Latn-RS" sz="2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pila je na snagu, a obaveza transponovanja je do 1.7.2018.</a:t>
            </a:r>
            <a:endParaRPr lang="en-US" sz="2200" dirty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sr-Latn-RS" sz="2200" dirty="0" smtClean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C </a:t>
            </a:r>
            <a:r>
              <a:rPr lang="sr-Latn-RS" sz="2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enjuje da su koristi znatno veće – najmanje </a:t>
            </a:r>
            <a:r>
              <a:rPr lang="en-US" sz="2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€40 </a:t>
            </a:r>
            <a:r>
              <a:rPr lang="sr-Latn-RS" sz="2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lrd godišnje i oko 40.000 novih radnih mesta kao rezultat noce politike u oblasti zaštite vazduha</a:t>
            </a:r>
            <a:endParaRPr lang="en-US" sz="2200" dirty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sr-Latn-RS" sz="2200" b="1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cionalni parlamenti – komentari i primedbe</a:t>
            </a:r>
            <a:endParaRPr lang="en-US" sz="2200" dirty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sr-Latn-RS" sz="2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lamenti 15 zemalja analizirali su predlog nove direktive.</a:t>
            </a:r>
            <a:endParaRPr lang="en-US" sz="2200" dirty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sr-Latn-RS" sz="2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i su izrazila određenu zabrinutost </a:t>
            </a:r>
            <a:r>
              <a:rPr lang="sr-Latn-RS" sz="2200" dirty="0" smtClean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ali generalno malo primedbi – samo Češka, Poljska i Rumunija</a:t>
            </a:r>
            <a:endParaRPr lang="en-US" sz="2200" dirty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sr-Latn-RS" sz="2200" dirty="0" smtClean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žnja </a:t>
            </a:r>
            <a:r>
              <a:rPr lang="sr-Latn-RS" sz="220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vrlo malo primedbi !!</a:t>
            </a:r>
            <a:endParaRPr lang="en-US" sz="2200" dirty="0">
              <a:solidFill>
                <a:srgbClr val="0000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940770" y="854681"/>
            <a:ext cx="4539448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va NEC </a:t>
            </a:r>
            <a:r>
              <a:rPr lang="en-US" sz="4400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rektiva</a:t>
            </a:r>
            <a:endParaRPr lang="en-GB" sz="4400" dirty="0"/>
          </a:p>
        </p:txBody>
      </p:sp>
      <p:pic>
        <p:nvPicPr>
          <p:cNvPr id="6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51893" y="2690813"/>
            <a:ext cx="2501900" cy="282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6400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3325</TotalTime>
  <Words>918</Words>
  <Application>Microsoft Office PowerPoint</Application>
  <PresentationFormat>Widescreen</PresentationFormat>
  <Paragraphs>86</Paragraphs>
  <Slides>1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rial</vt:lpstr>
      <vt:lpstr>Calibri</vt:lpstr>
      <vt:lpstr>Times New Roman</vt:lpstr>
      <vt:lpstr>Tw Cen MT</vt:lpstr>
      <vt:lpstr>Tw Cen MT Condensed</vt:lpstr>
      <vt:lpstr>Wingdings</vt:lpstr>
      <vt:lpstr>Wingdings 3</vt:lpstr>
      <vt:lpstr>Integral</vt:lpstr>
      <vt:lpstr>think-cell Slide</vt:lpstr>
      <vt:lpstr>Investicije i zaštita životne sredine – prioritet EPS</vt:lpstr>
      <vt:lpstr>Eu 28 emisije posle 2000. god</vt:lpstr>
      <vt:lpstr>Trend emisija u eu 28 po ključnim izvorima</vt:lpstr>
      <vt:lpstr>Raspodela i trendovi- EU 28</vt:lpstr>
      <vt:lpstr>Ključne poruke</vt:lpstr>
      <vt:lpstr>propisi – promene tokom vremena</vt:lpstr>
      <vt:lpstr>Borba za održivi razvoj</vt:lpstr>
      <vt:lpstr>politika čistog vazduha u eu i globalno</vt:lpstr>
      <vt:lpstr>PowerPoint Presentation</vt:lpstr>
      <vt:lpstr>IED – 2010/75</vt:lpstr>
      <vt:lpstr> klima – Politika i mere – vremenski okvir -  </vt:lpstr>
      <vt:lpstr>Udeo pojedinih sektora u ukupnim emisijama oksida sumpora, azotnih oksida, PM10 i PM2.5 u rs</vt:lpstr>
      <vt:lpstr>Emisije PM – izvori u rs</vt:lpstr>
      <vt:lpstr>Održiva energija</vt:lpstr>
      <vt:lpstr>Kvalitet i problem biomase kao goriva</vt:lpstr>
      <vt:lpstr>Čvrsta obnovljena goriva (SRF- Solid Recovered Fuel)</vt:lpstr>
      <vt:lpstr>Tehnička dokumentacija i studije uticaja</vt:lpstr>
      <vt:lpstr>Tehnička dokumentacija i R&amp;D u energetskim i industrijskim sistemima</vt:lpstr>
      <vt:lpstr>MODELIRANJE KVALITETA VAZDUHA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Jovovic</dc:creator>
  <cp:lastModifiedBy>Aleksandar Jovovic</cp:lastModifiedBy>
  <cp:revision>260</cp:revision>
  <dcterms:created xsi:type="dcterms:W3CDTF">2016-05-29T17:33:38Z</dcterms:created>
  <dcterms:modified xsi:type="dcterms:W3CDTF">2019-10-27T09:02:26Z</dcterms:modified>
</cp:coreProperties>
</file>